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DBDBD"/>
    <a:srgbClr val="727272"/>
    <a:srgbClr val="E5E5E5"/>
    <a:srgbClr val="D9D9D9"/>
    <a:srgbClr val="444444"/>
    <a:srgbClr val="EB0000"/>
    <a:srgbClr val="C60018"/>
    <a:srgbClr val="A20013"/>
    <a:srgbClr val="A8A8A8"/>
    <a:srgbClr val="8D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20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6E4AF49B-A06A-4787-92FE-8CB0B1971DCB}"/>
    <pc:docChg chg="delSld">
      <pc:chgData name="Meyer Raphael (PAR-ES)" userId="79615dfe-ed48-4e74-a40f-4f7b034c1c27" providerId="ADAL" clId="{6E4AF49B-A06A-4787-92FE-8CB0B1971DCB}" dt="2022-03-03T14:54:34.669" v="0" actId="47"/>
      <pc:docMkLst>
        <pc:docMk/>
      </pc:docMkLst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79071578" sldId="400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2084493369" sldId="401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008431792" sldId="402"/>
        </pc:sldMkLst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Weigel Stefan (PAR-EPS)" userId="fd3b2067-2981-4ad8-bf3a-d2e1004e4fa8" providerId="ADAL" clId="{60768D0B-E237-4E63-91AC-DEA8C2C94B14}"/>
    <pc:docChg chg="modSld">
      <pc:chgData name="Weigel Stefan (PAR-EPS)" userId="fd3b2067-2981-4ad8-bf3a-d2e1004e4fa8" providerId="ADAL" clId="{60768D0B-E237-4E63-91AC-DEA8C2C94B14}" dt="2024-02-01T17:26:18.217" v="6" actId="27918"/>
      <pc:docMkLst>
        <pc:docMk/>
      </pc:docMkLst>
      <pc:sldChg chg="mod">
        <pc:chgData name="Weigel Stefan (PAR-EPS)" userId="fd3b2067-2981-4ad8-bf3a-d2e1004e4fa8" providerId="ADAL" clId="{60768D0B-E237-4E63-91AC-DEA8C2C94B14}" dt="2024-02-01T17:26:18.217" v="6" actId="27918"/>
        <pc:sldMkLst>
          <pc:docMk/>
          <pc:sldMk cId="2338066774" sldId="399"/>
        </pc:sldMkLst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0BE059E5-9B00-412E-A1C8-3B1900FD7999}"/>
    <pc:docChg chg="addSld delSld">
      <pc:chgData name="Meyer Raphael (PAR-ES)" userId="79615dfe-ed48-4e74-a40f-4f7b034c1c27" providerId="ADAL" clId="{0BE059E5-9B00-412E-A1C8-3B1900FD7999}" dt="2022-01-17T13:59:13.933" v="7" actId="2890"/>
      <pc:docMkLst>
        <pc:docMk/>
      </pc:docMkLst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0BE059E5-9B00-412E-A1C8-3B1900FD7999}" dt="2022-01-17T13:59:04.964" v="4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131180641" sldId="398"/>
        </pc:sldMkLst>
      </pc:sldChg>
      <pc:sldChg chg="add">
        <pc:chgData name="Meyer Raphael (PAR-ES)" userId="79615dfe-ed48-4e74-a40f-4f7b034c1c27" providerId="ADAL" clId="{0BE059E5-9B00-412E-A1C8-3B1900FD7999}" dt="2022-01-17T13:59:12.049" v="5" actId="2890"/>
        <pc:sldMkLst>
          <pc:docMk/>
          <pc:sldMk cId="179071578" sldId="400"/>
        </pc:sldMkLst>
      </pc:sldChg>
      <pc:sldChg chg="add">
        <pc:chgData name="Meyer Raphael (PAR-ES)" userId="79615dfe-ed48-4e74-a40f-4f7b034c1c27" providerId="ADAL" clId="{0BE059E5-9B00-412E-A1C8-3B1900FD7999}" dt="2022-01-17T13:59:13.214" v="6" actId="2890"/>
        <pc:sldMkLst>
          <pc:docMk/>
          <pc:sldMk cId="2084493369" sldId="401"/>
        </pc:sldMkLst>
      </pc:sldChg>
      <pc:sldChg chg="add">
        <pc:chgData name="Meyer Raphael (PAR-ES)" userId="79615dfe-ed48-4e74-a40f-4f7b034c1c27" providerId="ADAL" clId="{0BE059E5-9B00-412E-A1C8-3B1900FD7999}" dt="2022-01-17T13:59:13.933" v="7" actId="2890"/>
        <pc:sldMkLst>
          <pc:docMk/>
          <pc:sldMk cId="1008431792" sldId="402"/>
        </pc:sldMkLst>
      </pc:sldChg>
      <pc:sldMasterChg chg="delSldLayout">
        <pc:chgData name="Meyer Raphael (PAR-ES)" userId="79615dfe-ed48-4e74-a40f-4f7b034c1c27" providerId="ADAL" clId="{0BE059E5-9B00-412E-A1C8-3B1900FD7999}" dt="2022-01-17T13:57:43.341" v="3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0BE059E5-9B00-412E-A1C8-3B1900FD7999}" dt="2022-01-17T13:57:43.341" v="3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Weigel Stefan (PAR-ES)" userId="fd3b2067-2981-4ad8-bf3a-d2e1004e4fa8" providerId="ADAL" clId="{E5DC8321-2A15-4029-A656-EDA02A5FF0BA}"/>
    <pc:docChg chg="modSld">
      <pc:chgData name="Weigel Stefan (PAR-ES)" userId="fd3b2067-2981-4ad8-bf3a-d2e1004e4fa8" providerId="ADAL" clId="{E5DC8321-2A15-4029-A656-EDA02A5FF0BA}" dt="2023-02-01T14:17:01.345" v="79" actId="20577"/>
      <pc:docMkLst>
        <pc:docMk/>
      </pc:docMkLst>
      <pc:sldChg chg="modSp mod">
        <pc:chgData name="Weigel Stefan (PAR-ES)" userId="fd3b2067-2981-4ad8-bf3a-d2e1004e4fa8" providerId="ADAL" clId="{E5DC8321-2A15-4029-A656-EDA02A5FF0BA}" dt="2023-02-01T14:17:01.345" v="79" actId="20577"/>
        <pc:sldMkLst>
          <pc:docMk/>
          <pc:sldMk cId="2338066774" sldId="399"/>
        </pc:sldMkLst>
        <pc:spChg chg="mod">
          <ac:chgData name="Weigel Stefan (PAR-ES)" userId="fd3b2067-2981-4ad8-bf3a-d2e1004e4fa8" providerId="ADAL" clId="{E5DC8321-2A15-4029-A656-EDA02A5FF0BA}" dt="2023-02-01T14:16:06.943" v="73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E5DC8321-2A15-4029-A656-EDA02A5FF0BA}" dt="2023-02-01T14:17:01.345" v="79" actId="20577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434B2013-B2C4-4896-BC95-7A0C2D018EBD}"/>
    <pc:docChg chg="delSld">
      <pc:chgData name="Meyer Raphael (PAR-ES)" userId="79615dfe-ed48-4e74-a40f-4f7b034c1c27" providerId="ADAL" clId="{434B2013-B2C4-4896-BC95-7A0C2D018EBD}" dt="2022-03-03T15:14:01.612" v="0" actId="47"/>
      <pc:docMkLst>
        <pc:docMk/>
      </pc:docMkLst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1284291177" sldId="400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448611044" sldId="401"/>
        </pc:sldMkLst>
      </pc:sldChg>
      <pc:sldChg chg="del">
        <pc:chgData name="Meyer Raphael (PAR-ES)" userId="79615dfe-ed48-4e74-a40f-4f7b034c1c27" providerId="ADAL" clId="{434B2013-B2C4-4896-BC95-7A0C2D018EBD}" dt="2022-03-03T15:14:01.612" v="0" actId="47"/>
        <pc:sldMkLst>
          <pc:docMk/>
          <pc:sldMk cId="272270592" sldId="402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EB5DEF9F-F706-47F6-B6EB-2038FBF844C5}"/>
    <pc:docChg chg="custSel delSld modSld">
      <pc:chgData name="Meyer Raphael (PAR-ES)" userId="79615dfe-ed48-4e74-a40f-4f7b034c1c27" providerId="ADAL" clId="{EB5DEF9F-F706-47F6-B6EB-2038FBF844C5}" dt="2022-01-17T15:29:07.310" v="33" actId="47"/>
      <pc:docMkLst>
        <pc:docMk/>
      </pc:docMkLst>
      <pc:sldChg chg="del">
        <pc:chgData name="Meyer Raphael (PAR-ES)" userId="79615dfe-ed48-4e74-a40f-4f7b034c1c27" providerId="ADAL" clId="{EB5DEF9F-F706-47F6-B6EB-2038FBF844C5}" dt="2022-01-17T15:29:07.310" v="33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B5DEF9F-F706-47F6-B6EB-2038FBF844C5}" dt="2022-01-17T15:25:25.967" v="17" actId="20577"/>
        <pc:sldMkLst>
          <pc:docMk/>
          <pc:sldMk cId="2084493369" sldId="401"/>
        </pc:sldMkLst>
        <pc:spChg chg="mod">
          <ac:chgData name="Meyer Raphael (PAR-ES)" userId="79615dfe-ed48-4e74-a40f-4f7b034c1c27" providerId="ADAL" clId="{EB5DEF9F-F706-47F6-B6EB-2038FBF844C5}" dt="2022-01-17T15:23:10.622" v="2" actId="20577"/>
          <ac:spMkLst>
            <pc:docMk/>
            <pc:sldMk cId="2084493369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4:57.509" v="14" actId="20577"/>
          <ac:spMkLst>
            <pc:docMk/>
            <pc:sldMk cId="2084493369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5:25.967" v="17" actId="20577"/>
          <ac:spMkLst>
            <pc:docMk/>
            <pc:sldMk cId="2084493369" sldId="401"/>
            <ac:spMk id="11" creationId="{84F82B92-ACCD-41AC-8B9B-F49F946956E6}"/>
          </ac:spMkLst>
        </pc:spChg>
      </pc:sldChg>
      <pc:sldChg chg="modSp mod">
        <pc:chgData name="Meyer Raphael (PAR-ES)" userId="79615dfe-ed48-4e74-a40f-4f7b034c1c27" providerId="ADAL" clId="{EB5DEF9F-F706-47F6-B6EB-2038FBF844C5}" dt="2022-01-17T15:28:38.821" v="32" actId="20577"/>
        <pc:sldMkLst>
          <pc:docMk/>
          <pc:sldMk cId="1008431792" sldId="402"/>
        </pc:sldMkLst>
        <pc:spChg chg="mod">
          <ac:chgData name="Meyer Raphael (PAR-ES)" userId="79615dfe-ed48-4e74-a40f-4f7b034c1c27" providerId="ADAL" clId="{EB5DEF9F-F706-47F6-B6EB-2038FBF844C5}" dt="2022-01-17T15:27:38.747" v="20" actId="20577"/>
          <ac:spMkLst>
            <pc:docMk/>
            <pc:sldMk cId="10084317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8:18.017" v="29" actId="20577"/>
          <ac:spMkLst>
            <pc:docMk/>
            <pc:sldMk cId="10084317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8:38.821" v="32" actId="20577"/>
          <ac:spMkLst>
            <pc:docMk/>
            <pc:sldMk cId="10084317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B539623C-0D18-4ED4-94C0-AB6BD7AF6A63}"/>
    <pc:docChg chg="custSel addSld modSld">
      <pc:chgData name="Meyer Raphael (PAR-ES)" userId="79615dfe-ed48-4e74-a40f-4f7b034c1c27" providerId="ADAL" clId="{B539623C-0D18-4ED4-94C0-AB6BD7AF6A63}" dt="2022-03-03T15:11:16.556" v="96" actId="27918"/>
      <pc:docMkLst>
        <pc:docMk/>
      </pc:docMkLst>
      <pc:sldChg chg="modSp mod">
        <pc:chgData name="Meyer Raphael (PAR-ES)" userId="79615dfe-ed48-4e74-a40f-4f7b034c1c27" providerId="ADAL" clId="{B539623C-0D18-4ED4-94C0-AB6BD7AF6A63}" dt="2022-03-03T15:11:16.556" v="96" actId="27918"/>
        <pc:sldMkLst>
          <pc:docMk/>
          <pc:sldMk cId="2338066774" sldId="399"/>
        </pc:sldMkLst>
        <pc:spChg chg="mod">
          <ac:chgData name="Meyer Raphael (PAR-ES)" userId="79615dfe-ed48-4e74-a40f-4f7b034c1c27" providerId="ADAL" clId="{B539623C-0D18-4ED4-94C0-AB6BD7AF6A63}" dt="2022-03-03T15:01:27.564" v="4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1:13.476" v="35" actId="20577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Meyer Raphael (PAR-ES)" userId="79615dfe-ed48-4e74-a40f-4f7b034c1c27" providerId="ADAL" clId="{B539623C-0D18-4ED4-94C0-AB6BD7AF6A63}" dt="2022-03-03T14:59:16.561" v="9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  <pc:sldChg chg="modSp add mod">
        <pc:chgData name="Meyer Raphael (PAR-ES)" userId="79615dfe-ed48-4e74-a40f-4f7b034c1c27" providerId="ADAL" clId="{B539623C-0D18-4ED4-94C0-AB6BD7AF6A63}" dt="2022-03-03T15:07:48.347" v="61" actId="27918"/>
        <pc:sldMkLst>
          <pc:docMk/>
          <pc:sldMk cId="1284291177" sldId="400"/>
        </pc:sldMkLst>
        <pc:spChg chg="mod">
          <ac:chgData name="Meyer Raphael (PAR-ES)" userId="79615dfe-ed48-4e74-a40f-4f7b034c1c27" providerId="ADAL" clId="{B539623C-0D18-4ED4-94C0-AB6BD7AF6A63}" dt="2022-03-03T15:06:50.434" v="54" actId="20577"/>
          <ac:spMkLst>
            <pc:docMk/>
            <pc:sldMk cId="1284291177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7:07.484" v="57" actId="20577"/>
          <ac:spMkLst>
            <pc:docMk/>
            <pc:sldMk cId="1284291177" sldId="400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09:17.377" v="77" actId="27918"/>
        <pc:sldMkLst>
          <pc:docMk/>
          <pc:sldMk cId="2448611044" sldId="401"/>
        </pc:sldMkLst>
        <pc:spChg chg="mod">
          <ac:chgData name="Meyer Raphael (PAR-ES)" userId="79615dfe-ed48-4e74-a40f-4f7b034c1c27" providerId="ADAL" clId="{B539623C-0D18-4ED4-94C0-AB6BD7AF6A63}" dt="2022-03-03T15:08:34.372" v="64" actId="20577"/>
          <ac:spMkLst>
            <pc:docMk/>
            <pc:sldMk cId="2448611044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09:06.268" v="73" actId="20577"/>
          <ac:spMkLst>
            <pc:docMk/>
            <pc:sldMk cId="2448611044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09:00.237" v="67" actId="20577"/>
          <ac:spMkLst>
            <pc:docMk/>
            <pc:sldMk cId="2448611044" sldId="401"/>
            <ac:spMk id="11" creationId="{84F82B92-ACCD-41AC-8B9B-F49F946956E6}"/>
          </ac:spMkLst>
        </pc:spChg>
      </pc:sldChg>
      <pc:sldChg chg="modSp add mod">
        <pc:chgData name="Meyer Raphael (PAR-ES)" userId="79615dfe-ed48-4e74-a40f-4f7b034c1c27" providerId="ADAL" clId="{B539623C-0D18-4ED4-94C0-AB6BD7AF6A63}" dt="2022-03-03T15:10:45.084" v="93" actId="27918"/>
        <pc:sldMkLst>
          <pc:docMk/>
          <pc:sldMk cId="272270592" sldId="402"/>
        </pc:sldMkLst>
        <pc:spChg chg="mod">
          <ac:chgData name="Meyer Raphael (PAR-ES)" userId="79615dfe-ed48-4e74-a40f-4f7b034c1c27" providerId="ADAL" clId="{B539623C-0D18-4ED4-94C0-AB6BD7AF6A63}" dt="2022-03-03T15:10:01.805" v="80" actId="20577"/>
          <ac:spMkLst>
            <pc:docMk/>
            <pc:sldMk cId="2722705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B539623C-0D18-4ED4-94C0-AB6BD7AF6A63}" dt="2022-03-03T15:10:34.404" v="89" actId="20577"/>
          <ac:spMkLst>
            <pc:docMk/>
            <pc:sldMk cId="2722705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B539623C-0D18-4ED4-94C0-AB6BD7AF6A63}" dt="2022-03-03T15:10:30.856" v="83" actId="20577"/>
          <ac:spMkLst>
            <pc:docMk/>
            <pc:sldMk cId="2722705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Weigel Stefan (PAR-EPS)" userId="fd3b2067-2981-4ad8-bf3a-d2e1004e4fa8" providerId="ADAL" clId="{BE7B5A81-D0A2-48B1-A119-FC60B2F71E41}"/>
    <pc:docChg chg="undo custSel modSld">
      <pc:chgData name="Weigel Stefan (PAR-EPS)" userId="fd3b2067-2981-4ad8-bf3a-d2e1004e4fa8" providerId="ADAL" clId="{BE7B5A81-D0A2-48B1-A119-FC60B2F71E41}" dt="2024-01-11T17:05:46.066" v="21" actId="27918"/>
      <pc:docMkLst>
        <pc:docMk/>
      </pc:docMkLst>
      <pc:sldChg chg="modSp mod">
        <pc:chgData name="Weigel Stefan (PAR-EPS)" userId="fd3b2067-2981-4ad8-bf3a-d2e1004e4fa8" providerId="ADAL" clId="{BE7B5A81-D0A2-48B1-A119-FC60B2F71E41}" dt="2024-01-11T17:05:46.066" v="21" actId="27918"/>
        <pc:sldMkLst>
          <pc:docMk/>
          <pc:sldMk cId="2338066774" sldId="399"/>
        </pc:sldMkLst>
        <pc:spChg chg="mod">
          <ac:chgData name="Weigel Stefan (PAR-EPS)" userId="fd3b2067-2981-4ad8-bf3a-d2e1004e4fa8" providerId="ADAL" clId="{BE7B5A81-D0A2-48B1-A119-FC60B2F71E41}" dt="2024-01-11T17:03:45.253" v="1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BE7B5A81-D0A2-48B1-A119-FC60B2F71E41}" dt="2024-01-11T17:04:01.671" v="8" actId="255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BE7B5A81-D0A2-48B1-A119-FC60B2F71E41}" dt="2024-01-11T17:03:52.761" v="4" actId="255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22EBFF8F-199A-4831-9BCB-5DCC486EB2D8}"/>
    <pc:docChg chg="custSel modSld">
      <pc:chgData name="Weigel Stefan (PAR-ES)" userId="fd3b2067-2981-4ad8-bf3a-d2e1004e4fa8" providerId="ADAL" clId="{22EBFF8F-199A-4831-9BCB-5DCC486EB2D8}" dt="2023-02-01T14:25:38.584" v="9" actId="27918"/>
      <pc:docMkLst>
        <pc:docMk/>
      </pc:docMkLst>
      <pc:sldChg chg="modSp mod">
        <pc:chgData name="Weigel Stefan (PAR-ES)" userId="fd3b2067-2981-4ad8-bf3a-d2e1004e4fa8" providerId="ADAL" clId="{22EBFF8F-199A-4831-9BCB-5DCC486EB2D8}" dt="2023-02-01T14:25:38.584" v="9" actId="27918"/>
        <pc:sldMkLst>
          <pc:docMk/>
          <pc:sldMk cId="2338066774" sldId="399"/>
        </pc:sldMkLst>
        <pc:spChg chg="mod">
          <ac:chgData name="Weigel Stefan (PAR-ES)" userId="fd3b2067-2981-4ad8-bf3a-d2e1004e4fa8" providerId="ADAL" clId="{22EBFF8F-199A-4831-9BCB-5DCC486EB2D8}" dt="2023-02-01T14:25:03.451" v="2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22EBFF8F-199A-4831-9BCB-5DCC486EB2D8}" dt="2023-02-01T14:25:29.801" v="6" actId="20577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S)" userId="fd3b2067-2981-4ad8-bf3a-d2e1004e4fa8" providerId="ADAL" clId="{22EBFF8F-199A-4831-9BCB-5DCC486EB2D8}" dt="2023-02-01T14:25:25.718" v="3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3F82E127-1ED1-4162-A039-B6321E3D039C}"/>
    <pc:docChg chg="modSld">
      <pc:chgData name="Meyer Raphael (PAR-ES)" userId="79615dfe-ed48-4e74-a40f-4f7b034c1c27" providerId="ADAL" clId="{3F82E127-1ED1-4162-A039-B6321E3D039C}" dt="2022-01-17T14:03:49.595" v="8" actId="20577"/>
      <pc:docMkLst>
        <pc:docMk/>
      </pc:docMkLst>
      <pc:sldChg chg="modSp mod">
        <pc:chgData name="Meyer Raphael (PAR-ES)" userId="79615dfe-ed48-4e74-a40f-4f7b034c1c27" providerId="ADAL" clId="{3F82E127-1ED1-4162-A039-B6321E3D039C}" dt="2022-01-17T14:03:49.595" v="8" actId="20577"/>
        <pc:sldMkLst>
          <pc:docMk/>
          <pc:sldMk cId="179071578" sldId="400"/>
        </pc:sldMkLst>
        <pc:spChg chg="mod">
          <ac:chgData name="Meyer Raphael (PAR-ES)" userId="79615dfe-ed48-4e74-a40f-4f7b034c1c27" providerId="ADAL" clId="{3F82E127-1ED1-4162-A039-B6321E3D039C}" dt="2022-01-17T14:02:36.178" v="2" actId="20577"/>
          <ac:spMkLst>
            <pc:docMk/>
            <pc:sldMk cId="179071578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F82E127-1ED1-4162-A039-B6321E3D039C}" dt="2022-01-17T14:03:49.595" v="8" actId="20577"/>
          <ac:spMkLst>
            <pc:docMk/>
            <pc:sldMk cId="179071578" sldId="400"/>
            <ac:spMk id="11" creationId="{84F82B92-ACCD-41AC-8B9B-F49F946956E6}"/>
          </ac:spMkLst>
        </pc:sp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95011838962335"/>
          <c:y val="0.10745262598812517"/>
          <c:w val="0.70347277391447394"/>
          <c:h val="0.7994640434541477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C$19</c:f>
              <c:strCache>
                <c:ptCount val="1"/>
                <c:pt idx="0">
                  <c:v>Uomini</c:v>
                </c:pt>
              </c:strCache>
            </c:strRef>
          </c:tx>
          <c:spPr>
            <a:solidFill>
              <a:srgbClr val="BDBDBD"/>
            </a:solidFill>
            <a:ln>
              <a:noFill/>
            </a:ln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C5-4387-A227-3B5CA15071DA}"/>
              </c:ext>
            </c:extLst>
          </c:dPt>
          <c:cat>
            <c:strRef>
              <c:f>data!$B$20:$B$29</c:f>
              <c:strCache>
                <c:ptCount val="10"/>
                <c:pt idx="0">
                  <c:v>meno di 5 anni</c:v>
                </c:pt>
                <c:pt idx="1">
                  <c:v>tra 5 e 9 anni</c:v>
                </c:pt>
                <c:pt idx="2">
                  <c:v>tra 10 e 14 anni</c:v>
                </c:pt>
                <c:pt idx="3">
                  <c:v>tra 15 e 19 anni</c:v>
                </c:pt>
                <c:pt idx="4">
                  <c:v>tra 20 e 24 anni</c:v>
                </c:pt>
                <c:pt idx="5">
                  <c:v>tra 25 e 29 anni</c:v>
                </c:pt>
                <c:pt idx="6">
                  <c:v>tra 30 e 34 anni</c:v>
                </c:pt>
                <c:pt idx="7">
                  <c:v>tra 35 e 39 anni</c:v>
                </c:pt>
                <c:pt idx="8">
                  <c:v>tra 40 e 44 anni</c:v>
                </c:pt>
                <c:pt idx="9">
                  <c:v>45 e più anni</c:v>
                </c:pt>
              </c:strCache>
            </c:strRef>
          </c:cat>
          <c:val>
            <c:numRef>
              <c:f>data!$C$20:$C$29</c:f>
              <c:numCache>
                <c:formatCode>#,##0</c:formatCode>
                <c:ptCount val="10"/>
                <c:pt idx="0">
                  <c:v>-8747</c:v>
                </c:pt>
                <c:pt idx="1">
                  <c:v>-4039</c:v>
                </c:pt>
                <c:pt idx="2">
                  <c:v>-3180</c:v>
                </c:pt>
                <c:pt idx="3">
                  <c:v>-1746</c:v>
                </c:pt>
                <c:pt idx="4">
                  <c:v>-1300</c:v>
                </c:pt>
                <c:pt idx="5">
                  <c:v>-600</c:v>
                </c:pt>
                <c:pt idx="6">
                  <c:v>-2379</c:v>
                </c:pt>
                <c:pt idx="7">
                  <c:v>-2042</c:v>
                </c:pt>
                <c:pt idx="8">
                  <c:v>-1402</c:v>
                </c:pt>
                <c:pt idx="9">
                  <c:v>-2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C5-4387-A227-3B5CA15071DA}"/>
            </c:ext>
          </c:extLst>
        </c:ser>
        <c:ser>
          <c:idx val="1"/>
          <c:order val="1"/>
          <c:tx>
            <c:strRef>
              <c:f>data!$D$19</c:f>
              <c:strCache>
                <c:ptCount val="1"/>
                <c:pt idx="0">
                  <c:v>Donne</c:v>
                </c:pt>
              </c:strCache>
            </c:strRef>
          </c:tx>
          <c:spPr>
            <a:solidFill>
              <a:srgbClr val="727272"/>
            </a:solidFill>
            <a:ln>
              <a:noFill/>
            </a:ln>
          </c:spPr>
          <c:invertIfNegative val="0"/>
          <c:cat>
            <c:strRef>
              <c:f>data!$B$20:$B$29</c:f>
              <c:strCache>
                <c:ptCount val="10"/>
                <c:pt idx="0">
                  <c:v>meno di 5 anni</c:v>
                </c:pt>
                <c:pt idx="1">
                  <c:v>tra 5 e 9 anni</c:v>
                </c:pt>
                <c:pt idx="2">
                  <c:v>tra 10 e 14 anni</c:v>
                </c:pt>
                <c:pt idx="3">
                  <c:v>tra 15 e 19 anni</c:v>
                </c:pt>
                <c:pt idx="4">
                  <c:v>tra 20 e 24 anni</c:v>
                </c:pt>
                <c:pt idx="5">
                  <c:v>tra 25 e 29 anni</c:v>
                </c:pt>
                <c:pt idx="6">
                  <c:v>tra 30 e 34 anni</c:v>
                </c:pt>
                <c:pt idx="7">
                  <c:v>tra 35 e 39 anni</c:v>
                </c:pt>
                <c:pt idx="8">
                  <c:v>tra 40 e 44 anni</c:v>
                </c:pt>
                <c:pt idx="9">
                  <c:v>45 e più anni</c:v>
                </c:pt>
              </c:strCache>
            </c:strRef>
          </c:cat>
          <c:val>
            <c:numRef>
              <c:f>data!$D$20:$D$29</c:f>
              <c:numCache>
                <c:formatCode>#,##0</c:formatCode>
                <c:ptCount val="10"/>
                <c:pt idx="0">
                  <c:v>2671</c:v>
                </c:pt>
                <c:pt idx="1">
                  <c:v>1134</c:v>
                </c:pt>
                <c:pt idx="2">
                  <c:v>905</c:v>
                </c:pt>
                <c:pt idx="3">
                  <c:v>432</c:v>
                </c:pt>
                <c:pt idx="4">
                  <c:v>339</c:v>
                </c:pt>
                <c:pt idx="5">
                  <c:v>118</c:v>
                </c:pt>
                <c:pt idx="6">
                  <c:v>412</c:v>
                </c:pt>
                <c:pt idx="7">
                  <c:v>193</c:v>
                </c:pt>
                <c:pt idx="8">
                  <c:v>71</c:v>
                </c:pt>
                <c:pt idx="9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C5-4387-A227-3B5CA1507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25733120"/>
        <c:axId val="125422208"/>
      </c:barChart>
      <c:valAx>
        <c:axId val="125422208"/>
        <c:scaling>
          <c:orientation val="minMax"/>
          <c:max val="3000"/>
          <c:min val="-9000"/>
        </c:scaling>
        <c:delete val="0"/>
        <c:axPos val="b"/>
        <c:majorGridlines/>
        <c:numFmt formatCode="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50">
                <a:solidFill>
                  <a:schemeClr val="tx1"/>
                </a:solidFill>
              </a:defRPr>
            </a:pPr>
            <a:endParaRPr lang="de-DE"/>
          </a:p>
        </c:txPr>
        <c:crossAx val="125733120"/>
        <c:crossesAt val="1"/>
        <c:crossBetween val="between"/>
        <c:majorUnit val="1500"/>
      </c:valAx>
      <c:catAx>
        <c:axId val="125733120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high"/>
        <c:txPr>
          <a:bodyPr/>
          <a:lstStyle/>
          <a:p>
            <a:pPr>
              <a:defRPr sz="1050"/>
            </a:pPr>
            <a:endParaRPr lang="de-DE"/>
          </a:p>
        </c:txPr>
        <c:crossAx val="125422208"/>
        <c:crosses val="max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7433</cdr:x>
      <cdr:y>0.03681</cdr:y>
    </cdr:from>
    <cdr:to>
      <cdr:x>0.62568</cdr:x>
      <cdr:y>0.0891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5743714" y="164669"/>
          <a:ext cx="513541" cy="2342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50" dirty="0" err="1"/>
            <a:t>Uomini</a:t>
          </a:r>
          <a:r>
            <a:rPr lang="de-CH" sz="1050" dirty="0"/>
            <a:t>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65903</cdr:x>
      <cdr:y>0.03681</cdr:y>
    </cdr:from>
    <cdr:to>
      <cdr:x>0.7083</cdr:x>
      <cdr:y>0.08918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6590851" y="164669"/>
          <a:ext cx="492739" cy="2342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/>
            <a:t>Donne 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2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323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it-IT" dirty="0"/>
              <a:t>Collaboratrici e collaboratori per anzianità di servizio nel 2023.</a:t>
            </a: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algn="r"/>
            <a:r>
              <a:rPr lang="de-CH" sz="1050" kern="0" spc="0" dirty="0">
                <a:solidFill>
                  <a:srgbClr val="444444"/>
                </a:solidFill>
              </a:rPr>
              <a:t>reporting.sbb.ch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487487" y="6092825"/>
            <a:ext cx="9217025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it-IT" sz="1050" dirty="0">
                <a:latin typeface="+mj-lt"/>
                <a:cs typeface="Arial" pitchFamily="34" charset="0"/>
              </a:rPr>
              <a:t>Numero di collaboratori/</a:t>
            </a:r>
            <a:r>
              <a:rPr lang="it-IT" sz="1050" dirty="0" err="1">
                <a:latin typeface="+mj-lt"/>
                <a:cs typeface="Arial" pitchFamily="34" charset="0"/>
              </a:rPr>
              <a:t>trici</a:t>
            </a:r>
            <a:r>
              <a:rPr lang="it-IT" sz="1050" dirty="0">
                <a:latin typeface="+mj-lt"/>
                <a:cs typeface="Arial" pitchFamily="34" charset="0"/>
              </a:rPr>
              <a:t> a fine anno. FFS SA e FFS Cargo SA (Svizzera).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67E5BF1A-DCFF-4431-8721-9C385B8E6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60191694"/>
              </p:ext>
            </p:extLst>
          </p:nvPr>
        </p:nvGraphicFramePr>
        <p:xfrm>
          <a:off x="703716" y="1402252"/>
          <a:ext cx="10000795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38066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5BA3FC2-4357-45A9-8630-2E1AEABE54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96e82a89-ba48-4728-b345-cf206dbec8f1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9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Collaboratrici e collaboratori per anzianità di servizio nel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aboratrici e collaboratori per anzianità di servizio nel 2023.</dc:title>
  <dc:creator>Meyer Raphael (KOM-PGA-VSF)</dc:creator>
  <cp:lastModifiedBy>Stefan Weigel (PAR-EPS)</cp:lastModifiedBy>
  <cp:revision>55</cp:revision>
  <dcterms:created xsi:type="dcterms:W3CDTF">2020-09-30T11:00:09Z</dcterms:created>
  <dcterms:modified xsi:type="dcterms:W3CDTF">2024-02-02T11:53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